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5"/>
  </p:notesMasterIdLst>
  <p:handoutMasterIdLst>
    <p:handoutMasterId r:id="rId6"/>
  </p:handoutMasterIdLst>
  <p:sldIdLst>
    <p:sldId id="478" r:id="rId2"/>
    <p:sldId id="476" r:id="rId3"/>
    <p:sldId id="477" r:id="rId4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78"/>
            <p14:sldId id="476"/>
            <p14:sldId id="47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72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9AF383-A9B2-428D-B484-D85B3C97FFB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5E627DD-EE91-48E0-9649-D7BF5AAC7049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C153931-6A79-46F5-9218-2260B595AC0C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0A42D51-F6A6-4DA2-949E-9715738E86F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446E580-55A9-4563-8154-9E636A3801A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6049DB-CAAB-40D9-89E7-13192BAF416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V.D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E95E27-E64C-4DF4-9459-289C1C55E91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D140F4F-E28B-4C56-94E7-12EDE7E11A7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AF923DA-AEE7-452B-8CCA-F7AD088C556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4E7AEE5-F4B7-4510-BC1B-149817022C5F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3B899F7-992B-4D04-BD41-3D51AC9235E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B3C2F0-2D10-43F8-82C3-6F2211AF01B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8AB61D-EEFE-48E2-8606-80BE06D80D0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- Customizing &amp; Tools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589616-252D-48F8-93E1-E525172B96C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089814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V.D </a:t>
                      </a:r>
                      <a:r>
                        <a:rPr lang="de-DE" sz="2400" b="1" baseline="0" dirty="0" smtClean="0"/>
                        <a:t>Erweiterte Codegenerator Optione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35024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02B25E9-B662-4ADA-B5A2-3D83BC4A45B6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Codegenerator Optionen (1)</a:t>
            </a:r>
            <a:endParaRPr lang="de-DE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428226"/>
              </p:ext>
            </p:extLst>
          </p:nvPr>
        </p:nvGraphicFramePr>
        <p:xfrm>
          <a:off x="539552" y="1556792"/>
          <a:ext cx="8136904" cy="3149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0300"/>
                <a:gridCol w="5436604"/>
              </a:tblGrid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Op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Beschreibung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Change </a:t>
                      </a:r>
                      <a:r>
                        <a:rPr lang="de-DE" dirty="0" err="1" smtClean="0"/>
                        <a:t>Listen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upport</a:t>
                      </a:r>
                      <a:r>
                        <a:rPr lang="de-DE" baseline="0" dirty="0" smtClean="0"/>
                        <a:t> von </a:t>
                      </a:r>
                      <a:r>
                        <a:rPr lang="de-DE" baseline="0" dirty="0" err="1" smtClean="0"/>
                        <a:t>Listenern</a:t>
                      </a:r>
                      <a:r>
                        <a:rPr lang="de-DE" baseline="0" dirty="0" smtClean="0"/>
                        <a:t>, die bei </a:t>
                      </a:r>
                      <a:r>
                        <a:rPr lang="de-DE" dirty="0" smtClean="0"/>
                        <a:t>Änderungen am Modell benachrichtigt werden.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Copy</a:t>
                      </a:r>
                      <a:r>
                        <a:rPr lang="de-DE" dirty="0" smtClean="0"/>
                        <a:t> 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stellt</a:t>
                      </a:r>
                      <a:r>
                        <a:rPr lang="de-DE" baseline="0" dirty="0" smtClean="0"/>
                        <a:t> eine Kopie eines Vertragsobjektes inklusive aller Bestandteile.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Delta 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Berechnet die Unterschiede </a:t>
                      </a:r>
                      <a:r>
                        <a:rPr lang="de-DE" baseline="0" dirty="0" smtClean="0"/>
                        <a:t>zwischen zwei Vertragsobjekten.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 smtClean="0"/>
                        <a:t>Visitor</a:t>
                      </a:r>
                      <a:r>
                        <a:rPr lang="de-DE" dirty="0" smtClean="0"/>
                        <a:t> Support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neriert die notwendigen Methoden für das </a:t>
                      </a:r>
                      <a:r>
                        <a:rPr lang="de-DE" dirty="0" err="1" smtClean="0"/>
                        <a:t>Visitor</a:t>
                      </a:r>
                      <a:r>
                        <a:rPr lang="de-DE" baseline="0" dirty="0" smtClean="0"/>
                        <a:t>-Pattern.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D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35492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E5EDFF-6E73-481C-96CC-A8AD02C454BD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Codegenerator Optionen (2)</a:t>
            </a:r>
            <a:endParaRPr lang="de-DE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643982"/>
              </p:ext>
            </p:extLst>
          </p:nvPr>
        </p:nvGraphicFramePr>
        <p:xfrm>
          <a:off x="539552" y="1556792"/>
          <a:ext cx="8136904" cy="3007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0300"/>
                <a:gridCol w="5436604"/>
              </a:tblGrid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Optio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Beschreibung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JPA 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atenbankinformationen</a:t>
                      </a:r>
                      <a:r>
                        <a:rPr lang="de-DE" baseline="0" dirty="0" smtClean="0"/>
                        <a:t> können im Modell hinterlegt werden und mit die Vertragsobjekte mit JPA in der Datenbank persistiert werden.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smtClean="0"/>
                        <a:t>JAXB Suppor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Unterstützt</a:t>
                      </a:r>
                      <a:r>
                        <a:rPr lang="de-DE" baseline="0" dirty="0" smtClean="0"/>
                        <a:t> die XML </a:t>
                      </a:r>
                      <a:r>
                        <a:rPr lang="de-DE" baseline="0" dirty="0" err="1" smtClean="0"/>
                        <a:t>Serialisierung</a:t>
                      </a:r>
                      <a:r>
                        <a:rPr lang="de-DE" baseline="0" dirty="0" smtClean="0"/>
                        <a:t> mit JAXB.</a:t>
                      </a:r>
                      <a:endParaRPr lang="de-DE" dirty="0"/>
                    </a:p>
                  </a:txBody>
                  <a:tcPr/>
                </a:tc>
              </a:tr>
              <a:tr h="589566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Formula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Compili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Formeln</a:t>
                      </a:r>
                      <a:r>
                        <a:rPr lang="de-DE" baseline="0" dirty="0" smtClean="0"/>
                        <a:t> können entweder direkt in Java-Klassen übersetzt werden oder aus dem XML heraus interpretiert werden.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D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885528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9</Words>
  <Application>Microsoft Office PowerPoint</Application>
  <PresentationFormat>Bildschirmpräsentation (4:3)</PresentationFormat>
  <Paragraphs>27</Paragraphs>
  <Slides>3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4" baseType="lpstr">
      <vt:lpstr>Master - ConVista General </vt:lpstr>
      <vt:lpstr>Inhalt - Customizing &amp; Tools</vt:lpstr>
      <vt:lpstr>Codegenerator Optionen (1)</vt:lpstr>
      <vt:lpstr>Codegenerator Optionen (2)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7</cp:revision>
  <cp:lastPrinted>2012-11-19T11:42:38Z</cp:lastPrinted>
  <dcterms:created xsi:type="dcterms:W3CDTF">2005-03-22T09:36:15Z</dcterms:created>
  <dcterms:modified xsi:type="dcterms:W3CDTF">2013-05-17T13:23:18Z</dcterms:modified>
  <cp:category>Master</cp:category>
  <cp:contentStatus>RELEASED</cp:contentStatus>
</cp:coreProperties>
</file>